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61" r:id="rId2"/>
    <p:sldId id="277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25" autoAdjust="0"/>
    <p:restoredTop sz="61267" autoAdjust="0"/>
  </p:normalViewPr>
  <p:slideViewPr>
    <p:cSldViewPr snapToGrid="0">
      <p:cViewPr varScale="1">
        <p:scale>
          <a:sx n="41" d="100"/>
          <a:sy n="41" d="100"/>
        </p:scale>
        <p:origin x="1552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D8D067-4A48-4B55-9D01-5C1EAC3B86AE}" type="datetimeFigureOut">
              <a:rPr lang="en-US" smtClean="0"/>
              <a:t>3/2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C6FCEC-784A-4AAE-8110-256F56FBD6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6488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C6FCEC-784A-4AAE-8110-256F56FBD62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4763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C6FCEC-784A-4AAE-8110-256F56FBD62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83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665900-DCCD-4577-9D9F-74C3F70505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5A1270-DCC2-420C-8062-C826FC241B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3C1709-CC5D-443E-8BC8-8B46E36F15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4FC4B-8F79-4F7C-A839-774B8F519672}" type="datetimeFigureOut">
              <a:rPr lang="en-US" smtClean="0"/>
              <a:t>3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0EDB9-689D-4324-A974-7EFDA79E5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7FEB08-D53F-430D-91FB-5C27431CF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F8DFC-A358-4FBF-9E24-B41DA9E5CF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5182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F652F7-BD32-4FC1-A5E0-33C2BBE27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67C061-597C-4CDA-937C-AD034C9149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21EBF6-7A9E-4A43-852B-658A6F289E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4FC4B-8F79-4F7C-A839-774B8F519672}" type="datetimeFigureOut">
              <a:rPr lang="en-US" smtClean="0"/>
              <a:t>3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C93927-56C9-48C5-B9D5-4BC5BEB08B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814CD3-E2E8-439C-907A-86FE254E0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F8DFC-A358-4FBF-9E24-B41DA9E5CF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4374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8B6815B-6473-4CA1-854B-75577AC7239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2370B5D-D8B4-406F-8C0A-D11DFB6722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7D1ACE-CE99-4E2D-8F7B-933D3918CE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4FC4B-8F79-4F7C-A839-774B8F519672}" type="datetimeFigureOut">
              <a:rPr lang="en-US" smtClean="0"/>
              <a:t>3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AE4CD0-E98B-49EB-A7A2-14EB52A380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9FFD2E-36CF-4F50-B932-D622527ED0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F8DFC-A358-4FBF-9E24-B41DA9E5CF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0896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E2FF08-57DC-41E2-BEC7-0F473444B3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5BF31A-8C7D-456E-B7B7-3D70649DEB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04F985-D85D-4A9A-9589-E9B929A3EB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4FC4B-8F79-4F7C-A839-774B8F519672}" type="datetimeFigureOut">
              <a:rPr lang="en-US" smtClean="0"/>
              <a:t>3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EA1E27-C055-479C-85AE-3F2504B6A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036A62-9067-4B4D-A842-5725E3B9D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F8DFC-A358-4FBF-9E24-B41DA9E5CF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31386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A21D1D-AB3F-40CC-8C8E-4CD9B06B6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1F0AC2-E73A-4C45-805A-709FC418D1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0296ED-7062-44D7-BC00-0BFF4B06DD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4FC4B-8F79-4F7C-A839-774B8F519672}" type="datetimeFigureOut">
              <a:rPr lang="en-US" smtClean="0"/>
              <a:t>3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45D616-038B-496B-8138-762AFF3A8D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EF6B50-5954-4166-95C5-51B5A22B2B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F8DFC-A358-4FBF-9E24-B41DA9E5CF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1523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E063C-FFAD-4B73-8F22-A24C218EC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0D2F62-7E6D-4C32-B7EF-1C0A6D7D8F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D8D795-0839-4818-8FA5-B3E9D660C3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A41A8A3-EA3A-4034-BD47-1EEA4E828E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4FC4B-8F79-4F7C-A839-774B8F519672}" type="datetimeFigureOut">
              <a:rPr lang="en-US" smtClean="0"/>
              <a:t>3/2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BDB644-EC69-4FB6-A341-63192BFAAB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E4BA9C-2D28-46F0-840F-B82C58F83C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F8DFC-A358-4FBF-9E24-B41DA9E5CF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6480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578C9A-F597-447B-87F9-EF4591820C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D9981B-0D34-4195-8866-6DAC3B95A6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D47C43-2EF5-425D-A5BC-3F217F979D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0009262-9DF4-49A0-B1DE-876060A31E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A64AAD6-246D-4D0A-A4CC-7BD0F1F2200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F5EE58-5397-4753-A268-378ACB81E2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4FC4B-8F79-4F7C-A839-774B8F519672}" type="datetimeFigureOut">
              <a:rPr lang="en-US" smtClean="0"/>
              <a:t>3/23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735B800-65DF-4E51-8585-51FB6605D9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B0481AC-A7D8-410C-AFD8-9B4E0C0F6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F8DFC-A358-4FBF-9E24-B41DA9E5CF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0391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1E77EB-E4A5-49D2-9308-76EF36FEF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66CC01-C7BE-4285-83CB-C1B14594E6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4FC4B-8F79-4F7C-A839-774B8F519672}" type="datetimeFigureOut">
              <a:rPr lang="en-US" smtClean="0"/>
              <a:t>3/23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D8A570-7F2B-45FA-9728-FF4AC5545C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7440B5-2C4F-4B8E-B284-E421AE353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F8DFC-A358-4FBF-9E24-B41DA9E5CF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830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EA1A8F-1EF7-484E-9027-4F152DB5DA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4FC4B-8F79-4F7C-A839-774B8F519672}" type="datetimeFigureOut">
              <a:rPr lang="en-US" smtClean="0"/>
              <a:t>3/23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450C4D-EBF8-4ECF-A195-244F1C2FD8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57A765-F107-4AA2-9AA9-787E029FFA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F8DFC-A358-4FBF-9E24-B41DA9E5CF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0794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F59342-88E0-4CF2-9043-09B2595075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28328E-7851-4382-AEE9-B0500E013A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4CD8AC-B517-48EF-9D36-60EED1A8BD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942552-6537-4FAB-8307-B2CE3FFC6B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4FC4B-8F79-4F7C-A839-774B8F519672}" type="datetimeFigureOut">
              <a:rPr lang="en-US" smtClean="0"/>
              <a:t>3/2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347456-C160-407D-A1D1-834136A5E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5C0A4E-BF1E-45F5-BD4D-20F2BEB803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F8DFC-A358-4FBF-9E24-B41DA9E5CF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0413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DF25EF-F7F3-4344-A1D0-647A814C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C04F2D6-162F-44A3-9117-EDCBC95653B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46AF25-D99A-4B51-91D4-9187D0430E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0D3470-605B-4C13-B95A-63348270BC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4FC4B-8F79-4F7C-A839-774B8F519672}" type="datetimeFigureOut">
              <a:rPr lang="en-US" smtClean="0"/>
              <a:t>3/2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584E1A-F1D2-4472-89DC-2F0F24893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50B902-0032-46F8-B6DA-0E42FD68E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F8DFC-A358-4FBF-9E24-B41DA9E5CF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6501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737BF2E-ECEC-490C-BBA4-193AA91EDE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1CEE4C-4CB9-46AE-B4D7-CA66FC534F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DEEB1F-FA59-4A3F-9CBA-8D9731251A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D4FC4B-8F79-4F7C-A839-774B8F519672}" type="datetimeFigureOut">
              <a:rPr lang="en-US" smtClean="0"/>
              <a:t>3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3DA8E1-E6C6-497D-ABC6-2DAE9BFDAB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8B0C92-8AF6-42F1-A19E-E15D2956C5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3F8DFC-A358-4FBF-9E24-B41DA9E5CF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653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AA6726-9FE7-4D28-8237-E049B723BB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1821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6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AA6726-9FE7-4D28-8237-E049B723BB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92CF761-6F74-4388-9B4D-C3515CBD853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  <a:sym typeface="Open Sans Extrabold" panose="020B0906030804020204" pitchFamily="34" charset="0"/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D874DEBD-3D93-45D9-AAC7-4EAF7274AD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6598567"/>
              </p:ext>
            </p:extLst>
          </p:nvPr>
        </p:nvGraphicFramePr>
        <p:xfrm>
          <a:off x="500063" y="773609"/>
          <a:ext cx="10425108" cy="5350989"/>
        </p:xfrm>
        <a:graphic>
          <a:graphicData uri="http://schemas.openxmlformats.org/drawingml/2006/table">
            <a:tbl>
              <a:tblPr/>
              <a:tblGrid>
                <a:gridCol w="1057867">
                  <a:extLst>
                    <a:ext uri="{9D8B030D-6E8A-4147-A177-3AD203B41FA5}">
                      <a16:colId xmlns:a16="http://schemas.microsoft.com/office/drawing/2014/main" val="2285026968"/>
                    </a:ext>
                  </a:extLst>
                </a:gridCol>
                <a:gridCol w="699557">
                  <a:extLst>
                    <a:ext uri="{9D8B030D-6E8A-4147-A177-3AD203B41FA5}">
                      <a16:colId xmlns:a16="http://schemas.microsoft.com/office/drawing/2014/main" val="3172701112"/>
                    </a:ext>
                  </a:extLst>
                </a:gridCol>
                <a:gridCol w="1057867">
                  <a:extLst>
                    <a:ext uri="{9D8B030D-6E8A-4147-A177-3AD203B41FA5}">
                      <a16:colId xmlns:a16="http://schemas.microsoft.com/office/drawing/2014/main" val="4061649494"/>
                    </a:ext>
                  </a:extLst>
                </a:gridCol>
                <a:gridCol w="1057867">
                  <a:extLst>
                    <a:ext uri="{9D8B030D-6E8A-4147-A177-3AD203B41FA5}">
                      <a16:colId xmlns:a16="http://schemas.microsoft.com/office/drawing/2014/main" val="1920591888"/>
                    </a:ext>
                  </a:extLst>
                </a:gridCol>
                <a:gridCol w="699557">
                  <a:extLst>
                    <a:ext uri="{9D8B030D-6E8A-4147-A177-3AD203B41FA5}">
                      <a16:colId xmlns:a16="http://schemas.microsoft.com/office/drawing/2014/main" val="301010026"/>
                    </a:ext>
                  </a:extLst>
                </a:gridCol>
                <a:gridCol w="699557">
                  <a:extLst>
                    <a:ext uri="{9D8B030D-6E8A-4147-A177-3AD203B41FA5}">
                      <a16:colId xmlns:a16="http://schemas.microsoft.com/office/drawing/2014/main" val="502525331"/>
                    </a:ext>
                  </a:extLst>
                </a:gridCol>
                <a:gridCol w="119437">
                  <a:extLst>
                    <a:ext uri="{9D8B030D-6E8A-4147-A177-3AD203B41FA5}">
                      <a16:colId xmlns:a16="http://schemas.microsoft.com/office/drawing/2014/main" val="2366325719"/>
                    </a:ext>
                  </a:extLst>
                </a:gridCol>
                <a:gridCol w="119437">
                  <a:extLst>
                    <a:ext uri="{9D8B030D-6E8A-4147-A177-3AD203B41FA5}">
                      <a16:colId xmlns:a16="http://schemas.microsoft.com/office/drawing/2014/main" val="2331286793"/>
                    </a:ext>
                  </a:extLst>
                </a:gridCol>
                <a:gridCol w="699557">
                  <a:extLst>
                    <a:ext uri="{9D8B030D-6E8A-4147-A177-3AD203B41FA5}">
                      <a16:colId xmlns:a16="http://schemas.microsoft.com/office/drawing/2014/main" val="2445803244"/>
                    </a:ext>
                  </a:extLst>
                </a:gridCol>
                <a:gridCol w="699557">
                  <a:extLst>
                    <a:ext uri="{9D8B030D-6E8A-4147-A177-3AD203B41FA5}">
                      <a16:colId xmlns:a16="http://schemas.microsoft.com/office/drawing/2014/main" val="330756178"/>
                    </a:ext>
                  </a:extLst>
                </a:gridCol>
                <a:gridCol w="1057867">
                  <a:extLst>
                    <a:ext uri="{9D8B030D-6E8A-4147-A177-3AD203B41FA5}">
                      <a16:colId xmlns:a16="http://schemas.microsoft.com/office/drawing/2014/main" val="1215115848"/>
                    </a:ext>
                  </a:extLst>
                </a:gridCol>
                <a:gridCol w="699557">
                  <a:extLst>
                    <a:ext uri="{9D8B030D-6E8A-4147-A177-3AD203B41FA5}">
                      <a16:colId xmlns:a16="http://schemas.microsoft.com/office/drawing/2014/main" val="1384037990"/>
                    </a:ext>
                  </a:extLst>
                </a:gridCol>
                <a:gridCol w="699557">
                  <a:extLst>
                    <a:ext uri="{9D8B030D-6E8A-4147-A177-3AD203B41FA5}">
                      <a16:colId xmlns:a16="http://schemas.microsoft.com/office/drawing/2014/main" val="2271049114"/>
                    </a:ext>
                  </a:extLst>
                </a:gridCol>
                <a:gridCol w="1057867">
                  <a:extLst>
                    <a:ext uri="{9D8B030D-6E8A-4147-A177-3AD203B41FA5}">
                      <a16:colId xmlns:a16="http://schemas.microsoft.com/office/drawing/2014/main" val="695621517"/>
                    </a:ext>
                  </a:extLst>
                </a:gridCol>
              </a:tblGrid>
              <a:tr h="326154"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laint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RF/ CI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eport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1F497D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Opening Repor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1" i="0" u="none" strike="noStrike">
                        <a:solidFill>
                          <a:srgbClr val="1F497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1" i="0" u="none" strike="noStrike">
                        <a:solidFill>
                          <a:srgbClr val="1F497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laint Notification.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laint Notification Date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6262733"/>
                  </a:ext>
                </a:extLst>
              </a:tr>
              <a:tr h="181571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1" i="0" u="none" strike="noStrike">
                        <a:solidFill>
                          <a:srgbClr val="1F497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1" i="0" u="none" strike="noStrike">
                        <a:solidFill>
                          <a:srgbClr val="1F497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ritical Complaint No.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CI ##_201#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ritical Complaint Date: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251401"/>
                  </a:ext>
                </a:extLst>
              </a:tr>
              <a:tr h="163077"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6319088"/>
                  </a:ext>
                </a:extLst>
              </a:tr>
              <a:tr h="206883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ssue: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6"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ction status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755876"/>
                  </a:ext>
                </a:extLst>
              </a:tr>
              <a:tr h="16307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er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6" gridSpan="6"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6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6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6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6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6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2144472"/>
                  </a:ext>
                </a:extLst>
              </a:tr>
              <a:tr h="16307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chine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6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2358833"/>
                  </a:ext>
                </a:extLst>
              </a:tr>
              <a:tr h="16307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erial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6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3403023"/>
                  </a:ext>
                </a:extLst>
              </a:tr>
              <a:tr h="16307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) 3rd-party COPQ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B) Internal COPQ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C) Potential Lost Sa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6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7604020"/>
                  </a:ext>
                </a:extLst>
              </a:tr>
              <a:tr h="29422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     -   €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     -   €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     -   €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6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7820328"/>
                  </a:ext>
                </a:extLst>
              </a:tr>
              <a:tr h="10222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blem Statement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6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5755265"/>
                  </a:ext>
                </a:extLst>
              </a:tr>
              <a:tr h="16307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9242324"/>
                  </a:ext>
                </a:extLst>
              </a:tr>
              <a:tr h="163077"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1913002"/>
                  </a:ext>
                </a:extLst>
              </a:tr>
              <a:tr h="206883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vestigation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6"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ext: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7287778"/>
                  </a:ext>
                </a:extLst>
              </a:tr>
              <a:tr h="1788937">
                <a:tc gridSpan="6"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6"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4683456"/>
                  </a:ext>
                </a:extLst>
              </a:tr>
              <a:tr h="182545"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esponsible: </a:t>
                      </a: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ext Update: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err="1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dd.mm.yyyy</a:t>
                      </a:r>
                      <a:endParaRPr lang="en-US" sz="1000" b="1" i="0" u="none" strike="noStrike" dirty="0">
                        <a:solidFill>
                          <a:srgbClr val="1F497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6983422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2254A17-ED2E-4A7F-9A82-B788DD810894}"/>
              </a:ext>
            </a:extLst>
          </p:cNvPr>
          <p:cNvSpPr txBox="1"/>
          <p:nvPr/>
        </p:nvSpPr>
        <p:spPr>
          <a:xfrm>
            <a:off x="500063" y="314304"/>
            <a:ext cx="27797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Ad-hoc form- opening</a:t>
            </a:r>
          </a:p>
        </p:txBody>
      </p:sp>
    </p:spTree>
    <p:extLst>
      <p:ext uri="{BB962C8B-B14F-4D97-AF65-F5344CB8AC3E}">
        <p14:creationId xmlns:p14="http://schemas.microsoft.com/office/powerpoint/2010/main" val="3267061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40671AF-EAFE-4A8C-9357-B6B58AC5DF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8300" y="914400"/>
            <a:ext cx="8168205" cy="4981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802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HKSIz7S1.urr.HcxGUt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22</Words>
  <Application>Microsoft Office PowerPoint</Application>
  <PresentationFormat>Widescreen</PresentationFormat>
  <Paragraphs>65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Open Sans Extrabold</vt:lpstr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S automation process</dc:title>
  <dc:creator>Varghese, Nikhil</dc:creator>
  <cp:lastModifiedBy>Surendran, Satheesh</cp:lastModifiedBy>
  <cp:revision>128</cp:revision>
  <dcterms:created xsi:type="dcterms:W3CDTF">2019-11-21T11:48:12Z</dcterms:created>
  <dcterms:modified xsi:type="dcterms:W3CDTF">2020-03-23T04:55:05Z</dcterms:modified>
</cp:coreProperties>
</file>